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9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0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21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22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2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2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25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27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8.xml" ContentType="application/vnd.openxmlformats-officedocument.theme+xml"/>
  <Override PartName="/ppt/theme/theme2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472" r:id="rId20"/>
    <p:sldMasterId id="2147484603" r:id="rId21"/>
    <p:sldMasterId id="2147484672" r:id="rId22"/>
    <p:sldMasterId id="2147484680" r:id="rId23"/>
    <p:sldMasterId id="2147484708" r:id="rId24"/>
    <p:sldMasterId id="2147484842" r:id="rId25"/>
    <p:sldMasterId id="2147484848" r:id="rId26"/>
    <p:sldMasterId id="2147484860" r:id="rId27"/>
    <p:sldMasterId id="2147484863" r:id="rId28"/>
    <p:sldMasterId id="2147484866" r:id="rId29"/>
    <p:sldMasterId id="2147484869" r:id="rId30"/>
  </p:sldMasterIdLst>
  <p:notesMasterIdLst>
    <p:notesMasterId r:id="rId46"/>
  </p:notesMasterIdLst>
  <p:handoutMasterIdLst>
    <p:handoutMasterId r:id="rId47"/>
  </p:handoutMasterIdLst>
  <p:sldIdLst>
    <p:sldId id="987" r:id="rId31"/>
    <p:sldId id="963" r:id="rId32"/>
    <p:sldId id="1013" r:id="rId33"/>
    <p:sldId id="1003" r:id="rId34"/>
    <p:sldId id="1002" r:id="rId35"/>
    <p:sldId id="1004" r:id="rId36"/>
    <p:sldId id="1010" r:id="rId37"/>
    <p:sldId id="1012" r:id="rId38"/>
    <p:sldId id="1009" r:id="rId39"/>
    <p:sldId id="1008" r:id="rId40"/>
    <p:sldId id="1006" r:id="rId41"/>
    <p:sldId id="1007" r:id="rId42"/>
    <p:sldId id="1005" r:id="rId43"/>
    <p:sldId id="988" r:id="rId44"/>
    <p:sldId id="964" r:id="rId45"/>
  </p:sldIdLst>
  <p:sldSz cx="9144000" cy="6858000" type="screen4x3"/>
  <p:notesSz cx="7010400" cy="92964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768">
          <p15:clr>
            <a:srgbClr val="A4A3A4"/>
          </p15:clr>
        </p15:guide>
        <p15:guide id="4" pos="4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6"/>
    <a:srgbClr val="00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7782" autoAdjust="0"/>
    <p:restoredTop sz="97749" autoAdjust="0"/>
  </p:normalViewPr>
  <p:slideViewPr>
    <p:cSldViewPr>
      <p:cViewPr varScale="1">
        <p:scale>
          <a:sx n="120" d="100"/>
          <a:sy n="120" d="100"/>
        </p:scale>
        <p:origin x="2034" y="96"/>
      </p:cViewPr>
      <p:guideLst>
        <p:guide orient="horz" pos="2160"/>
        <p:guide pos="2880"/>
        <p:guide orient="horz" pos="768"/>
        <p:guide pos="4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9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4.xml"/><Relationship Id="rId42" Type="http://schemas.openxmlformats.org/officeDocument/2006/relationships/slide" Target="slides/slide12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6.xml"/><Relationship Id="rId49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4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4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5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6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8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76323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312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9914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04234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848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2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2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Pre-Decisional Deliberative Document - Internal VA U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fld id="{6EF4A7D3-2E4B-4872-9C5A-C8BA78F30933}" type="datetime4">
              <a:rPr lang="en-US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April 23, 2018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dirty="0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76D34-F326-4FA6-B1B5-72D273B94A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BB5AA-D668-4F7C-AF84-D5B2EA8ABF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AA5FB-16F3-4C01-95E7-4AD9A292D3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7949D-538B-4F4F-8BC9-7D75C718A4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EE2FA-8E37-4415-A27D-3447A09161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972682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21531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21690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65226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240041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5616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39589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946504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46103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45799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01402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214521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61529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66509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50950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169422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59280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3653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8846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51605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2530D-ACA1-4634-B164-52F5894E2BD3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F942-E61C-4CED-89E6-91939CBCCC48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6EC7B-0AC5-480E-8CDB-0D2799245CFB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D06BE-CE1B-447D-951A-56D5467CB80A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0370-FE74-4E2F-9E25-F8175EAC3DBB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0E1D5-0FE3-4306-A94D-F919408ED7BC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/XX/XXXX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4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4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2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2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19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07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ags" Target="../tags/tag23.xml"/><Relationship Id="rId5" Type="http://schemas.openxmlformats.org/officeDocument/2006/relationships/vmlDrawing" Target="../drawings/vmlDrawing22.vml"/><Relationship Id="rId4" Type="http://schemas.openxmlformats.org/officeDocument/2006/relationships/theme" Target="../theme/theme20.xml"/><Relationship Id="rId9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11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8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3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oleObject" Target="../embeddings/oleObject25.bin"/><Relationship Id="rId5" Type="http://schemas.openxmlformats.org/officeDocument/2006/relationships/tags" Target="../tags/tag26.xml"/><Relationship Id="rId4" Type="http://schemas.openxmlformats.org/officeDocument/2006/relationships/vmlDrawing" Target="../drawings/vmlDrawing25.v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4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oleObject" Target="../embeddings/oleObject28.bin"/><Relationship Id="rId5" Type="http://schemas.openxmlformats.org/officeDocument/2006/relationships/tags" Target="../tags/tag29.xml"/><Relationship Id="rId4" Type="http://schemas.openxmlformats.org/officeDocument/2006/relationships/vmlDrawing" Target="../drawings/vmlDrawing28.v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5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oleObject" Target="../embeddings/oleObject31.bin"/><Relationship Id="rId5" Type="http://schemas.openxmlformats.org/officeDocument/2006/relationships/tags" Target="../tags/tag32.xml"/><Relationship Id="rId4" Type="http://schemas.openxmlformats.org/officeDocument/2006/relationships/vmlDrawing" Target="../drawings/vmlDrawing31.v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6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oleObject" Target="../embeddings/oleObject34.bin"/><Relationship Id="rId5" Type="http://schemas.openxmlformats.org/officeDocument/2006/relationships/tags" Target="../tags/tag35.xml"/><Relationship Id="rId4" Type="http://schemas.openxmlformats.org/officeDocument/2006/relationships/vmlDrawing" Target="../drawings/vmlDrawing34.v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7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oleObject" Target="../embeddings/oleObject37.bin"/><Relationship Id="rId5" Type="http://schemas.openxmlformats.org/officeDocument/2006/relationships/tags" Target="../tags/tag38.xml"/><Relationship Id="rId4" Type="http://schemas.openxmlformats.org/officeDocument/2006/relationships/vmlDrawing" Target="../drawings/vmlDrawing37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9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9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2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90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867902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4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3" r:id="rId1"/>
    <p:sldLayoutId id="2147484674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5CC441-5531-4747-B0C6-44C69B6012C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Working Draft, Information Only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50571291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5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0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9" r:id="rId1"/>
    <p:sldLayoutId id="2147484850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7482510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90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12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1" r:id="rId1"/>
    <p:sldLayoutId id="2147484862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648335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5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7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4" r:id="rId1"/>
    <p:sldLayoutId id="2147484865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3531023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029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7" r:id="rId1"/>
    <p:sldLayoutId id="2147484868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8073498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788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0" r:id="rId1"/>
    <p:sldLayoutId id="2147484871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9B61AED-C919-4E53-BB61-F5C4CD500E63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19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90600" y="1759565"/>
            <a:ext cx="7162800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solidFill>
                  <a:prstClr val="black"/>
                </a:solidFill>
                <a:latin typeface="Arial"/>
                <a:ea typeface="MS ????"/>
              </a:rPr>
              <a:t>Integrated Disability Evaluation System (IDES)</a:t>
            </a: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marL="274320" indent="-274320" algn="ctr">
              <a:tabLst>
                <a:tab pos="342265" algn="l"/>
                <a:tab pos="3257550" algn="ctr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r>
              <a:rPr lang="en-US" sz="3200" dirty="0">
                <a:solidFill>
                  <a:prstClr val="black"/>
                </a:solidFill>
                <a:latin typeface="Arial"/>
                <a:ea typeface="MS ????"/>
              </a:rPr>
              <a:t>Conference Call</a:t>
            </a: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marL="274320" indent="-274320" algn="ctr">
              <a:tabLst>
                <a:tab pos="342265" algn="l"/>
                <a:tab pos="3257550" algn="ctr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algn="ctr"/>
            <a:r>
              <a:rPr lang="en-US" sz="2400" dirty="0">
                <a:solidFill>
                  <a:prstClr val="black"/>
                </a:solidFill>
                <a:latin typeface="Arial"/>
                <a:ea typeface="MS ????"/>
              </a:rPr>
              <a:t>March 13, 2018—2 PM EDT</a:t>
            </a:r>
            <a:endParaRPr lang="en-US" sz="24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62207" y="44301"/>
            <a:ext cx="53767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nsation Service (212)</a:t>
            </a:r>
          </a:p>
        </p:txBody>
      </p:sp>
    </p:spTree>
    <p:extLst>
      <p:ext uri="{BB962C8B-B14F-4D97-AF65-F5344CB8AC3E}">
        <p14:creationId xmlns:p14="http://schemas.microsoft.com/office/powerpoint/2010/main" val="123906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4776" y="1112836"/>
            <a:ext cx="8229600" cy="4449764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DES participants may submit requests for reconsideration of evaluations assigned to referred conditions, even if service connection was denied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Only the evaluations (not the denial) of referred conditions are subject to reconsideration 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f new evidence is submitted with a reconsideration request that that would reverse the proposed denial, then the DRAS must prepare an updated proposed rating to reflect a proposed gra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b="0" dirty="0">
                <a:latin typeface="Arial" panose="020B0604020202020204" pitchFamily="34" charset="0"/>
                <a:cs typeface="Arial" panose="020B0604020202020204" pitchFamily="34" charset="0"/>
              </a:rPr>
              <a:t>Handling Requests for Reconsideration when Service Connection is Denied for Referred Conditions</a:t>
            </a:r>
            <a:endParaRPr lang="en-US" sz="2500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1000" y="1115842"/>
            <a:ext cx="8229600" cy="34289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</a:rPr>
              <a:t>When a referred condition involves in-service aggravation, DRAS should address the aggravation in the IDES proposed rating in general accordance with standard rating procedures (as outlined in M21-1 IV.ii.2.B.4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</a:rPr>
              <a:t>No special action or language is required in IDES proposed ratings in cases involving in-service aggravation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b="0" dirty="0">
                <a:latin typeface="Arial" panose="020B0604020202020204" pitchFamily="34" charset="0"/>
                <a:cs typeface="Arial" panose="020B0604020202020204" pitchFamily="34" charset="0"/>
              </a:rPr>
              <a:t>Providing Evaluations of Referred Conditions Involving</a:t>
            </a:r>
            <a:br>
              <a:rPr lang="en-US" sz="25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0" dirty="0">
                <a:latin typeface="Arial" panose="020B0604020202020204" pitchFamily="34" charset="0"/>
                <a:cs typeface="Arial" panose="020B0604020202020204" pitchFamily="34" charset="0"/>
              </a:rPr>
              <a:t>In-Service Aggravation </a:t>
            </a:r>
            <a:endParaRPr lang="en-US" sz="2500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90053" y="1109791"/>
            <a:ext cx="8229600" cy="4452809"/>
          </a:xfrm>
        </p:spPr>
        <p:txBody>
          <a:bodyPr>
            <a:noAutofit/>
          </a:bodyPr>
          <a:lstStyle/>
          <a:p>
            <a:pPr>
              <a:buSzPct val="11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/>
              </a:rPr>
              <a:t>If an NAD participant declines to file a VA claim as part of the IDES process, the DRAS must handle the case in in accordance with M21-1 III.i.2.F.10.a</a:t>
            </a:r>
          </a:p>
          <a:p>
            <a:pPr lvl="1">
              <a:buSzPct val="11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/>
              </a:rPr>
              <a:t>prepare a “proposed” rating for PEB-purposes</a:t>
            </a:r>
          </a:p>
          <a:p>
            <a:pPr lvl="1">
              <a:buSzPct val="11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/>
              </a:rPr>
              <a:t>using the EP 689 </a:t>
            </a:r>
          </a:p>
          <a:p>
            <a:pPr marL="0" indent="0">
              <a:buSzPct val="110000"/>
              <a:buNone/>
            </a:pPr>
            <a:endParaRPr lang="en-US" dirty="0">
              <a:solidFill>
                <a:srgbClr val="000000"/>
              </a:solidFill>
              <a:latin typeface="Arial"/>
            </a:endParaRPr>
          </a:p>
          <a:p>
            <a:pPr>
              <a:buSzPct val="110000"/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Arial"/>
              </a:rPr>
              <a:t>The IDES Staff at Compensation Service is now preparing manual updates to clarify this procedure. </a:t>
            </a:r>
          </a:p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  <a:latin typeface="Arial"/>
              </a:rPr>
              <a:t>		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/>
          <a:lstStyle/>
          <a:p>
            <a:r>
              <a:rPr lang="en-US" sz="2500" b="0" dirty="0">
                <a:latin typeface="Arial" panose="020B0604020202020204" pitchFamily="34" charset="0"/>
                <a:cs typeface="Arial" panose="020B0604020202020204" pitchFamily="34" charset="0"/>
              </a:rPr>
              <a:t>Proposed Ratings for Non-Active Duty (NAD) Participant Declines to File a VA Claim</a:t>
            </a:r>
            <a:endParaRPr lang="en-US" sz="2500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1000" y="1112066"/>
            <a:ext cx="8229600" cy="24383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Coaches/Supervisors are reminded to keep the MSC SharePoint Site updated with your RO’s IDES information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tact andrew.reese@va.gov for access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f there is a change in the MSC Coach/Supervisor, the new Coach/Supervisor should inform 212D by emailing the DES Mailbox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b="0" dirty="0">
                <a:latin typeface="Arial" panose="020B0604020202020204" pitchFamily="34" charset="0"/>
                <a:cs typeface="Arial" panose="020B0604020202020204" pitchFamily="34" charset="0"/>
              </a:rPr>
              <a:t>Compensation Service 212D MSC Information</a:t>
            </a:r>
            <a:br>
              <a:rPr lang="en-US" sz="25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0" dirty="0">
                <a:latin typeface="Arial" panose="020B0604020202020204" pitchFamily="34" charset="0"/>
                <a:cs typeface="Arial" panose="020B0604020202020204" pitchFamily="34" charset="0"/>
              </a:rPr>
              <a:t> SharePoint Site</a:t>
            </a:r>
            <a:endParaRPr lang="en-US" sz="2500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67800" cy="609600"/>
          </a:xfrm>
        </p:spPr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Veterans Tracking Application (VTA) Reminders </a:t>
            </a:r>
          </a:p>
        </p:txBody>
      </p:sp>
      <p:sp>
        <p:nvSpPr>
          <p:cNvPr id="7" name="Rectangle 6"/>
          <p:cNvSpPr/>
          <p:nvPr/>
        </p:nvSpPr>
        <p:spPr>
          <a:xfrm>
            <a:off x="228600" y="1128670"/>
            <a:ext cx="7338227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lvl="0" indent="-3397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/>
                <a:ea typeface="Times New Roman"/>
              </a:rPr>
              <a:t>VTA Training: March 20 (9ET) and 21 (1ET) </a:t>
            </a:r>
          </a:p>
        </p:txBody>
      </p:sp>
    </p:spTree>
    <p:extLst>
      <p:ext uri="{BB962C8B-B14F-4D97-AF65-F5344CB8AC3E}">
        <p14:creationId xmlns:p14="http://schemas.microsoft.com/office/powerpoint/2010/main" val="5663668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057975" y="0"/>
            <a:ext cx="7010399" cy="60655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3300" kern="1200">
                <a:solidFill>
                  <a:schemeClr val="accent3">
                    <a:shade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Call and Open Floor</a:t>
            </a:r>
          </a:p>
        </p:txBody>
      </p:sp>
      <p:sp>
        <p:nvSpPr>
          <p:cNvPr id="6" name="Rectangle 5"/>
          <p:cNvSpPr/>
          <p:nvPr/>
        </p:nvSpPr>
        <p:spPr>
          <a:xfrm>
            <a:off x="299523" y="1119617"/>
            <a:ext cx="746760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MS #</a:t>
            </a:r>
            <a:r>
              <a:rPr lang="en-US" sz="2600" dirty="0"/>
              <a:t>:  </a:t>
            </a: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38929</a:t>
            </a:r>
          </a:p>
          <a:p>
            <a:pPr marL="0" lvl="1"/>
            <a:endParaRPr lang="en-US" sz="2600" dirty="0">
              <a:solidFill>
                <a:srgbClr val="FF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Next Teleconference: April 10, 2018</a:t>
            </a:r>
          </a:p>
          <a:p>
            <a:endParaRPr lang="en-US" sz="2600" dirty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Open Floor/Questions </a:t>
            </a:r>
          </a:p>
        </p:txBody>
      </p:sp>
    </p:spTree>
    <p:extLst>
      <p:ext uri="{BB962C8B-B14F-4D97-AF65-F5344CB8AC3E}">
        <p14:creationId xmlns:p14="http://schemas.microsoft.com/office/powerpoint/2010/main" val="3131562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476100" y="0"/>
            <a:ext cx="4163573" cy="60655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3300" kern="1200">
                <a:solidFill>
                  <a:schemeClr val="accent3">
                    <a:shade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</a:t>
            </a:r>
          </a:p>
        </p:txBody>
      </p:sp>
      <p:sp>
        <p:nvSpPr>
          <p:cNvPr id="6" name="Rectangle 5"/>
          <p:cNvSpPr/>
          <p:nvPr/>
        </p:nvSpPr>
        <p:spPr>
          <a:xfrm>
            <a:off x="-76200" y="838200"/>
            <a:ext cx="9392315" cy="55707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lvl="0" indent="-3397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  <a:ea typeface="Times New Roman"/>
              </a:rPr>
              <a:t>Topics for Discussio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DES Goals Updat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am Management System (EMS) in VBM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rvice Department Memorandum of Complete and 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urrent Service Treatment Records (STRs)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xit Interview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Failure to Report to Exams for Referred Condition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nying Service Connection for Referred Condition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andling Requests for Reconsideration when Service Connection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s Denied for Referred Condition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ing Evaluations of Referred Conditions involving</a:t>
            </a:r>
          </a:p>
          <a:p>
            <a:pPr lvl="1"/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Service Aggravation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ed Ratings for Non-Active Duty (NAD) Participant Declines </a:t>
            </a:r>
          </a:p>
          <a:p>
            <a:pPr lvl="1"/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File a VA Claim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00000"/>
                </a:solidFill>
                <a:latin typeface="Arial"/>
                <a:ea typeface="Times New Roman"/>
              </a:rPr>
              <a:t>Compensation Service 212D MSC Information SharePoint Site</a:t>
            </a:r>
          </a:p>
          <a:p>
            <a:pPr lvl="1"/>
            <a:endParaRPr lang="en-US" sz="2400" u="sng" dirty="0">
              <a:solidFill>
                <a:srgbClr val="000000"/>
              </a:solidFill>
              <a:latin typeface="Arial"/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582138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476100" y="0"/>
            <a:ext cx="4163573" cy="60655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3300" kern="1200">
                <a:solidFill>
                  <a:schemeClr val="accent3">
                    <a:shade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</a:t>
            </a:r>
            <a:r>
              <a:rPr lang="en-US" sz="32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’t</a:t>
            </a:r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252208" y="1205567"/>
            <a:ext cx="7284302" cy="19697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indent="-3397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  <a:ea typeface="Times New Roman"/>
              </a:rPr>
              <a:t>Veterans Tracking Application (VTA) Reminders</a:t>
            </a:r>
            <a:r>
              <a:rPr lang="en-US" sz="2000" dirty="0">
                <a:solidFill>
                  <a:srgbClr val="000000"/>
                </a:solidFill>
                <a:latin typeface="Arial"/>
                <a:ea typeface="Times New Roman"/>
              </a:rPr>
              <a:t> 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endParaRPr lang="en-US" sz="2600" dirty="0">
              <a:solidFill>
                <a:srgbClr val="000000"/>
              </a:solidFill>
              <a:latin typeface="Arial"/>
              <a:ea typeface="Times New Roman"/>
            </a:endParaRPr>
          </a:p>
          <a:p>
            <a:pPr marL="457200" indent="-3397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  <a:ea typeface="Times New Roman"/>
              </a:rPr>
              <a:t>Next Call</a:t>
            </a:r>
          </a:p>
          <a:p>
            <a:pPr marL="457200" indent="-339725">
              <a:buFont typeface="Wingdings" panose="05000000000000000000" pitchFamily="2" charset="2"/>
              <a:buChar char="Ø"/>
            </a:pPr>
            <a:endParaRPr lang="en-US" sz="2400" dirty="0">
              <a:solidFill>
                <a:srgbClr val="000000"/>
              </a:solidFill>
              <a:latin typeface="Arial"/>
              <a:ea typeface="Times New Roman"/>
            </a:endParaRPr>
          </a:p>
          <a:p>
            <a:pPr marL="457200" indent="-339725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rgbClr val="000000"/>
                </a:solidFill>
                <a:latin typeface="Arial"/>
                <a:ea typeface="Times New Roman"/>
              </a:rPr>
              <a:t>Open Floor </a:t>
            </a:r>
            <a:endParaRPr lang="en-US" sz="2400" u="sng" dirty="0">
              <a:solidFill>
                <a:srgbClr val="000000"/>
              </a:solidFill>
              <a:latin typeface="Arial"/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779257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S Goals Update</a:t>
            </a:r>
            <a:endParaRPr lang="en-US" b="0" dirty="0"/>
          </a:p>
        </p:txBody>
      </p:sp>
      <p:sp>
        <p:nvSpPr>
          <p:cNvPr id="4" name="Content Placeholder 5"/>
          <p:cNvSpPr>
            <a:spLocks noGrp="1"/>
          </p:cNvSpPr>
          <p:nvPr>
            <p:ph idx="1"/>
          </p:nvPr>
        </p:nvSpPr>
        <p:spPr>
          <a:xfrm>
            <a:off x="384776" y="1132447"/>
            <a:ext cx="8229600" cy="22859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On the February call there was a discussion about new IDES goals that would reduce the standard for processing time from 295/305 days to 230 days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lease note the new goals were not put into effect on March 1, 2018, as indicated during the February Call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urrent IDES goals will remain in place until further notice</a:t>
            </a:r>
          </a:p>
        </p:txBody>
      </p:sp>
    </p:spTree>
    <p:extLst>
      <p:ext uri="{BB962C8B-B14F-4D97-AF65-F5344CB8AC3E}">
        <p14:creationId xmlns:p14="http://schemas.microsoft.com/office/powerpoint/2010/main" val="4260770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6276" y="838201"/>
            <a:ext cx="8452923" cy="31241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xam Management in VBMS was introduced in VBMS Release 14.1 (March 11th)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l VSRs, RVSRs, and Pre-Discharge MSCs were instructed to complete five online training items in TMS by March 9</a:t>
            </a:r>
            <a:r>
              <a:rPr lang="en-US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urrently, the only IDES exam provider supported by EMS is VES, which provides IDES examinations in OCONUS locations 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t this time, MSCs must continue to submit IDES exam requests to QTC through CAATS, and submit IDES exam requests to VHA through CAPRI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ERRA tool will continue providing guidance to ensure the exam scheduling request is routed to the appropriate vendor and submitted through the correct VBA system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s a reminder, the ERRA tool is only mandatory for IDES participants who are not located at or near the referring MTF (in accordance with M21-1 III.i.2.D.6.r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Exam Management System (EMS) in VBM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4260770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1000" y="838201"/>
            <a:ext cx="8229600" cy="5287964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must review IDES referral packages to ensure the referral is proper in accordance with M21-1 III.i.2.D.3.d (step 4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must ensure that the STR memo (sample provided in M21-1 III.i.2.D.2.c), which certifies that all known STRs have been provided and indicates any missing records and the efforts made to obtain them, is provided with each IDES referral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f the STR memo was not provided, the referral should be considered incomplete and handled in accordance with M21-1 III.i.2.D.3.d (step 5)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hen MSCs upload the STR memo to the eFolder, they must ensure that the memorandum is appropriately indexed (per M21-1 III.i.2.D.3.e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b="0" dirty="0">
                <a:latin typeface="Arial" panose="020B0604020202020204" pitchFamily="34" charset="0"/>
                <a:cs typeface="Arial" panose="020B0604020202020204" pitchFamily="34" charset="0"/>
              </a:rPr>
              <a:t>Service Department Memorandum of Complete and </a:t>
            </a:r>
            <a:br>
              <a:rPr lang="en-US" sz="26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b="0" dirty="0">
                <a:latin typeface="Arial" panose="020B0604020202020204" pitchFamily="34" charset="0"/>
                <a:cs typeface="Arial" panose="020B0604020202020204" pitchFamily="34" charset="0"/>
              </a:rPr>
              <a:t>Current Service Treatment Records (STRs)</a:t>
            </a:r>
            <a:endParaRPr lang="en-US" sz="2600" b="0" dirty="0"/>
          </a:p>
        </p:txBody>
      </p:sp>
    </p:spTree>
    <p:extLst>
      <p:ext uri="{BB962C8B-B14F-4D97-AF65-F5344CB8AC3E}">
        <p14:creationId xmlns:p14="http://schemas.microsoft.com/office/powerpoint/2010/main" val="12169480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81000" y="1124896"/>
            <a:ext cx="8229600" cy="12191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are reminded that exit interviews must be conducted within 10 business days of the Exit Interview Start Date in VTA. Exit Interview procedures are discussed in M21-1 III.i.2.E.5.a and b</a:t>
            </a:r>
          </a:p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There is no need or requirement for the participant to have orders to conduct the Exit Interview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21-1 III.i.2.E.5.a will be updated to remove the reference to the Final Disposition Date, and to reflect the new Exit Interview Start Date field in VT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Exit Interview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762000"/>
            <a:ext cx="8229600" cy="6095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en a Servicemember fails to report to exams for referred conditions, the MSC must confer with the PEBLO to determine how best to proceed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urrently, M21-1 III.i.2.D.7.k discusses two options for proceeding: 1) disenrollment from IDES, or 2) rescheduling the exams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owever, the MEB may decide the best course of action will be to continue the IDES process without C&amp;P exams for the referred conditions. In these instances,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	• the MSC must: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		- obtain written documentation from the PEBLO that the 				MEB/PEB can proceed w/o the C&amp;P exams,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		- enter the current date as the Examination End Date and 			Medical Evaluation End Date in VTA, and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      • the DRAS will evaluate the condition on the basis of the 			evidence of recor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b="0" dirty="0">
                <a:latin typeface="Arial" panose="020B0604020202020204" pitchFamily="34" charset="0"/>
                <a:cs typeface="Arial" panose="020B0604020202020204" pitchFamily="34" charset="0"/>
              </a:rPr>
              <a:t>Failure to Report to Exams for Referred Conditions </a:t>
            </a:r>
            <a:endParaRPr lang="en-US" sz="3000" dirty="0"/>
          </a:p>
        </p:txBody>
      </p:sp>
    </p:spTree>
    <p:extLst>
      <p:ext uri="{BB962C8B-B14F-4D97-AF65-F5344CB8AC3E}">
        <p14:creationId xmlns:p14="http://schemas.microsoft.com/office/powerpoint/2010/main" val="13743521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390053" y="838201"/>
            <a:ext cx="8229600" cy="5287964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RAS must assign evaluations to all referred conditions, even when the evidence of record does not support a grant of service connect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hen service connection cannot be granted for a referred condition, the proposed rating must include</a:t>
            </a:r>
          </a:p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		• a disability evaluation for PEB purposes only, and</a:t>
            </a:r>
          </a:p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		• a clear indication that the evaluation is for PEB 				purposes only, and that service-connection cannot be 			established for VA benefit purpos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On final ratings, these conditions must be denied straightforwardly, with no reference to any evaluation assigned solely for PEB purpo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b="0" dirty="0">
                <a:latin typeface="Arial" panose="020B0604020202020204" pitchFamily="34" charset="0"/>
                <a:cs typeface="Arial" panose="020B0604020202020204" pitchFamily="34" charset="0"/>
              </a:rPr>
              <a:t>Denying Service Connection for Referred Conditions </a:t>
            </a:r>
            <a:endParaRPr lang="en-US" sz="3000" b="0" dirty="0"/>
          </a:p>
        </p:txBody>
      </p:sp>
    </p:spTree>
    <p:extLst>
      <p:ext uri="{BB962C8B-B14F-4D97-AF65-F5344CB8AC3E}">
        <p14:creationId xmlns:p14="http://schemas.microsoft.com/office/powerpoint/2010/main" val="2707020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3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3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4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4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4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7.xml><?xml version="1.0" encoding="utf-8"?>
<a:theme xmlns:a="http://schemas.openxmlformats.org/drawingml/2006/main" name="38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5135822C7E9A4FBBC0FB0034D17B0A" ma:contentTypeVersion="0" ma:contentTypeDescription="Create a new document." ma:contentTypeScope="" ma:versionID="fb16c13aa178fec9a33e1bc6140d72f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BABBC1-510B-498E-8648-BB5C1F939242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D932419-1077-4BA7-92CE-E9F222FADF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110</TotalTime>
  <Words>1073</Words>
  <Application>Microsoft Office PowerPoint</Application>
  <PresentationFormat>On-screen Show (4:3)</PresentationFormat>
  <Paragraphs>10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49" baseType="lpstr">
      <vt:lpstr>Arial</vt:lpstr>
      <vt:lpstr>Calibri</vt:lpstr>
      <vt:lpstr>Courier New</vt:lpstr>
      <vt:lpstr>MS ????</vt:lpstr>
      <vt:lpstr>Times New Roman</vt:lpstr>
      <vt:lpstr>Wingdings</vt:lpstr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0_Office Theme</vt:lpstr>
      <vt:lpstr>12_Office Theme</vt:lpstr>
      <vt:lpstr>36_Office Theme</vt:lpstr>
      <vt:lpstr>39_Office Theme</vt:lpstr>
      <vt:lpstr>14_Office Theme</vt:lpstr>
      <vt:lpstr>OM Standard Slides</vt:lpstr>
      <vt:lpstr>37_Office Theme</vt:lpstr>
      <vt:lpstr>42_Office Theme</vt:lpstr>
      <vt:lpstr>43_Office Theme</vt:lpstr>
      <vt:lpstr>44_Office Theme</vt:lpstr>
      <vt:lpstr>38_Office Theme</vt:lpstr>
      <vt:lpstr>think-cell Slide</vt:lpstr>
      <vt:lpstr>PowerPoint Presentation</vt:lpstr>
      <vt:lpstr>PowerPoint Presentation</vt:lpstr>
      <vt:lpstr>PowerPoint Presentation</vt:lpstr>
      <vt:lpstr>IDES Goals Update</vt:lpstr>
      <vt:lpstr>Exam Management System (EMS) in VBMS</vt:lpstr>
      <vt:lpstr>Service Department Memorandum of Complete and  Current Service Treatment Records (STRs)</vt:lpstr>
      <vt:lpstr>Exit Interviews</vt:lpstr>
      <vt:lpstr>Failure to Report to Exams for Referred Conditions </vt:lpstr>
      <vt:lpstr>Denying Service Connection for Referred Conditions </vt:lpstr>
      <vt:lpstr>Handling Requests for Reconsideration when Service Connection is Denied for Referred Conditions</vt:lpstr>
      <vt:lpstr>Providing Evaluations of Referred Conditions Involving In-Service Aggravation </vt:lpstr>
      <vt:lpstr>Proposed Ratings for Non-Active Duty (NAD) Participant Declines to File a VA Claim</vt:lpstr>
      <vt:lpstr>Compensation Service 212D MSC Information  SharePoint Site</vt:lpstr>
      <vt:lpstr>Veterans Tracking Application (VTA) Reminders </vt:lpstr>
      <vt:lpstr>PowerPoint Presentation</vt:lpstr>
    </vt:vector>
  </TitlesOfParts>
  <Company>Veterans Benefits Administ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rch 2018 IDES Teleconferencel PowerPoint Presentation</dc:title>
  <dc:subject>Pre-Discharge MSC</dc:subject>
  <dc:creator>Department of Veterans Affairs, Veterans Benefits Administration, Compensation Service, STAFF</dc:creator>
  <cp:keywords>IDES Conference Call</cp:keywords>
  <dc:description>This is the presentation for the March 13, 2018 IDES Teleconference.</dc:description>
  <cp:lastModifiedBy>Kathy Poole</cp:lastModifiedBy>
  <cp:revision>848</cp:revision>
  <cp:lastPrinted>2017-06-05T12:03:36Z</cp:lastPrinted>
  <dcterms:created xsi:type="dcterms:W3CDTF">2016-05-04T17:57:56Z</dcterms:created>
  <dcterms:modified xsi:type="dcterms:W3CDTF">2018-04-23T13:20:45Z</dcterms:modified>
  <cp:category>NTC Curriculum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5135822C7E9A4FBBC0FB0034D17B0A</vt:lpwstr>
  </property>
  <property fmtid="{D5CDD505-2E9C-101B-9397-08002B2CF9AE}" pid="3" name="Language">
    <vt:lpwstr>en</vt:lpwstr>
  </property>
  <property fmtid="{D5CDD505-2E9C-101B-9397-08002B2CF9AE}" pid="4" name="Type">
    <vt:lpwstr>Presentation</vt:lpwstr>
  </property>
</Properties>
</file>